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72" y="8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56661860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2.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1</TotalTime>
  <Words>2650</Words>
  <Application>Microsoft Office PowerPoint</Application>
  <PresentationFormat>Widescreen</PresentationFormat>
  <Paragraphs>431</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19</cp:revision>
  <dcterms:created xsi:type="dcterms:W3CDTF">2022-09-12T10:39:45Z</dcterms:created>
  <dcterms:modified xsi:type="dcterms:W3CDTF">2025-02-12T11:3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